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300" r:id="rId2"/>
    <p:sldId id="695" r:id="rId3"/>
    <p:sldId id="727" r:id="rId4"/>
    <p:sldId id="728" r:id="rId5"/>
    <p:sldId id="590" r:id="rId6"/>
    <p:sldId id="729" r:id="rId7"/>
    <p:sldId id="730" r:id="rId8"/>
    <p:sldId id="731" r:id="rId9"/>
    <p:sldId id="732" r:id="rId10"/>
    <p:sldId id="733" r:id="rId11"/>
    <p:sldId id="734" r:id="rId12"/>
    <p:sldId id="735" r:id="rId13"/>
    <p:sldId id="736" r:id="rId14"/>
    <p:sldId id="737" r:id="rId15"/>
    <p:sldId id="738" r:id="rId16"/>
    <p:sldId id="739" r:id="rId17"/>
    <p:sldId id="740" r:id="rId18"/>
    <p:sldId id="741" r:id="rId19"/>
    <p:sldId id="742" r:id="rId20"/>
    <p:sldId id="743" r:id="rId21"/>
    <p:sldId id="744" r:id="rId22"/>
    <p:sldId id="745" r:id="rId23"/>
    <p:sldId id="746" r:id="rId24"/>
    <p:sldId id="747" r:id="rId25"/>
    <p:sldId id="748" r:id="rId26"/>
    <p:sldId id="717" r:id="rId27"/>
    <p:sldId id="750" r:id="rId28"/>
    <p:sldId id="675" r:id="rId29"/>
    <p:sldId id="726" r:id="rId3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314456-4B4C-4B36-9219-980102937F6D}">
          <p14:sldIdLst>
            <p14:sldId id="300"/>
            <p14:sldId id="695"/>
            <p14:sldId id="727"/>
            <p14:sldId id="728"/>
            <p14:sldId id="590"/>
            <p14:sldId id="729"/>
            <p14:sldId id="730"/>
            <p14:sldId id="731"/>
            <p14:sldId id="732"/>
            <p14:sldId id="733"/>
            <p14:sldId id="734"/>
            <p14:sldId id="735"/>
            <p14:sldId id="736"/>
            <p14:sldId id="737"/>
            <p14:sldId id="738"/>
            <p14:sldId id="739"/>
            <p14:sldId id="740"/>
            <p14:sldId id="741"/>
            <p14:sldId id="742"/>
            <p14:sldId id="743"/>
            <p14:sldId id="744"/>
            <p14:sldId id="745"/>
            <p14:sldId id="746"/>
            <p14:sldId id="747"/>
            <p14:sldId id="748"/>
            <p14:sldId id="717"/>
            <p14:sldId id="750"/>
            <p14:sldId id="675"/>
            <p14:sldId id="726"/>
          </p14:sldIdLst>
        </p14:section>
        <p14:section name="доп слайды" id="{0A5E0976-12A8-4C90-BC88-E7445F4ED5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6" clrIdx="0">
    <p:extLst>
      <p:ext uri="{19B8F6BF-5375-455C-9EA6-DF929625EA0E}">
        <p15:presenceInfo xmlns:p15="http://schemas.microsoft.com/office/powerpoint/2012/main" userId="S-1-5-21-4226584364-21557989-1436132917-1644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393"/>
    <a:srgbClr val="CEE1F2"/>
    <a:srgbClr val="176BBD"/>
    <a:srgbClr val="49198B"/>
    <a:srgbClr val="62C7F1"/>
    <a:srgbClr val="E3EAF6"/>
    <a:srgbClr val="2C2D8F"/>
    <a:srgbClr val="668CCF"/>
    <a:srgbClr val="ED7D31"/>
    <a:srgbClr val="789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6408" autoAdjust="0"/>
  </p:normalViewPr>
  <p:slideViewPr>
    <p:cSldViewPr snapToGrid="0">
      <p:cViewPr varScale="1">
        <p:scale>
          <a:sx n="69" d="100"/>
          <a:sy n="69" d="100"/>
        </p:scale>
        <p:origin x="696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56728E-7B58-4258-ACF1-6AFD9B644731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6344-AB4E-4E43-8796-67C97B8F4B3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0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8562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5087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6502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67101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17356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04730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6494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74084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3815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422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84765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79918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007917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11050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5421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4955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81102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70212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8770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18293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 lIns="92409" tIns="46205" rIns="92409" bIns="46205"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 lIns="92409" tIns="46205" rIns="92409" bIns="46205"/>
          <a:lstStyle/>
          <a:p>
            <a:fld id="{1ADD950F-4718-4BFC-B9E0-69B49DFC71DA}" type="datetime1">
              <a:rPr lang="ru-RU" smtClean="0"/>
              <a:t>16.04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25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01295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304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618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0962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1719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1108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826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761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117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356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87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5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54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57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713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372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7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01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3465-6BC1-4C5A-8672-039A31808E6C}" type="datetimeFigureOut">
              <a:rPr lang="ru-RU" smtClean="0"/>
              <a:t>16.04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3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gif"/><Relationship Id="rId3" Type="http://schemas.openxmlformats.org/officeDocument/2006/relationships/image" Target="../media/image3.png"/><Relationship Id="rId7" Type="http://schemas.openxmlformats.org/officeDocument/2006/relationships/hyperlink" Target="http://www.all-fizika.com/article/index.php?id_article=110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distolymp2.spbu.ru/www/lab_dhtml/index.html" TargetMode="External"/><Relationship Id="rId11" Type="http://schemas.openxmlformats.org/officeDocument/2006/relationships/image" Target="../media/image39.gif"/><Relationship Id="rId5" Type="http://schemas.openxmlformats.org/officeDocument/2006/relationships/hyperlink" Target="http://www.virtulab.net/" TargetMode="External"/><Relationship Id="rId10" Type="http://schemas.openxmlformats.org/officeDocument/2006/relationships/image" Target="../media/image38.gif"/><Relationship Id="rId4" Type="http://schemas.openxmlformats.org/officeDocument/2006/relationships/hyperlink" Target="http://mediadidaktika.ru/" TargetMode="External"/><Relationship Id="rId9" Type="http://schemas.openxmlformats.org/officeDocument/2006/relationships/image" Target="../media/image37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9.gif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1.gif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0.gi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ya-sdam-oge--fizika--mexanicheskie-yavleniya--teplovye-yavleniya--elektromagnitnye-yavleniya--tipovye-zadaniya2396" TargetMode="External"/><Relationship Id="rId3" Type="http://schemas.openxmlformats.org/officeDocument/2006/relationships/image" Target="../media/image52.jpeg"/><Relationship Id="rId7" Type="http://schemas.openxmlformats.org/officeDocument/2006/relationships/hyperlink" Target="https://shop.prosv.ru/oge-2019-fizika-25-luchshix-variantov2923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shop.prosv.ru/v-pomoshh-vypuskniku--oge--fizika--spravochnik-s-kommentariyami-vedushhix-ekspertov3235" TargetMode="External"/><Relationship Id="rId5" Type="http://schemas.openxmlformats.org/officeDocument/2006/relationships/image" Target="../media/image54.jpeg"/><Relationship Id="rId10" Type="http://schemas.openxmlformats.org/officeDocument/2006/relationships/image" Target="../media/image55.gif"/><Relationship Id="rId4" Type="http://schemas.openxmlformats.org/officeDocument/2006/relationships/image" Target="../media/image53.jpeg"/><Relationship Id="rId9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gif"/><Relationship Id="rId5" Type="http://schemas.openxmlformats.org/officeDocument/2006/relationships/image" Target="../media/image57.png"/><Relationship Id="rId4" Type="http://schemas.openxmlformats.org/officeDocument/2006/relationships/hyperlink" Target="https://shop.prosv.ru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png"/><Relationship Id="rId4" Type="http://schemas.openxmlformats.org/officeDocument/2006/relationships/hyperlink" Target="mailto:vopros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spheres.prosv.ru/physics/about/200/2236/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://spheres.prosv.ru/physics/about/199/2205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Relationship Id="rId9" Type="http://schemas.openxmlformats.org/officeDocument/2006/relationships/hyperlink" Target="http://spheres.prosv.ru/physics/about/201/2280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3579" y="2235362"/>
            <a:ext cx="10252617" cy="1169551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4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 Light" panose="020B0306030504020204" pitchFamily="34" charset="0"/>
              </a:rPr>
              <a:t>«Лабораторный практикум в дистанционном формате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93996" y="4651609"/>
            <a:ext cx="7112286" cy="923330"/>
          </a:xfr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Ведущий методист по физике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Центра методической поддержки педагогов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Литвинов Олег Андреевич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784442" y="251752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0" y="5972139"/>
            <a:ext cx="814492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ава защищен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</a:p>
        </p:txBody>
      </p:sp>
    </p:spTree>
    <p:extLst>
      <p:ext uri="{BB962C8B-B14F-4D97-AF65-F5344CB8AC3E}">
        <p14:creationId xmlns:p14="http://schemas.microsoft.com/office/powerpoint/2010/main" val="20010653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282526" y="817692"/>
            <a:ext cx="2903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ХОД В ПРИЛОЖЕНИ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A88424D-C454-48F7-800D-77B509922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5164" y="1245337"/>
            <a:ext cx="7791726" cy="549356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828DF00-BF33-461F-A545-5E6A3D1BDB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526" y="1305486"/>
            <a:ext cx="1656383" cy="5203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454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282526" y="817692"/>
            <a:ext cx="5750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ВИГАЦИЯ ПО ПРИЛОЖЕНИЮ – «УЧЕБНИК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A88424D-C454-48F7-800D-77B5099229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435" y="1217802"/>
            <a:ext cx="6545575" cy="461496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9D6D36E-8065-4E43-86BD-8CF7378F3569}"/>
              </a:ext>
            </a:extLst>
          </p:cNvPr>
          <p:cNvSpPr txBox="1"/>
          <p:nvPr/>
        </p:nvSpPr>
        <p:spPr>
          <a:xfrm>
            <a:off x="6828101" y="1210347"/>
            <a:ext cx="508137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кладка «Учебник» открывается автоматически при вход в приложение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ервая страница содержит оглавление учебника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ыбрав параграф из оглавления мы попадаем на страницу учебника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47B6D22-1C41-41AC-B35C-417E1D3EA9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58037" y="3183121"/>
            <a:ext cx="3857625" cy="264964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99D84AC-8438-402A-813D-4DFD8851968E}"/>
              </a:ext>
            </a:extLst>
          </p:cNvPr>
          <p:cNvSpPr txBox="1"/>
          <p:nvPr/>
        </p:nvSpPr>
        <p:spPr>
          <a:xfrm>
            <a:off x="1405127" y="5927938"/>
            <a:ext cx="80335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НИМАНИЕ! Версия учебника соответствует версии 2014 года! </a:t>
            </a:r>
          </a:p>
        </p:txBody>
      </p:sp>
    </p:spTree>
    <p:extLst>
      <p:ext uri="{BB962C8B-B14F-4D97-AF65-F5344CB8AC3E}">
        <p14:creationId xmlns:p14="http://schemas.microsoft.com/office/powerpoint/2010/main" val="2696074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7064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ВИГАЦИЯ ПО ПРИЛОЖЕНИЮ – «КАТАЛОГ»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7603645-1334-484F-89A8-B2AC6A2A25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925" y="1305486"/>
            <a:ext cx="6438900" cy="454242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4BDDF66-7D9E-4085-A605-C5D742DAE519}"/>
              </a:ext>
            </a:extLst>
          </p:cNvPr>
          <p:cNvSpPr txBox="1"/>
          <p:nvPr/>
        </p:nvSpPr>
        <p:spPr>
          <a:xfrm>
            <a:off x="6758703" y="817692"/>
            <a:ext cx="508137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кладка «Каталог» предназначена для отображения всех мультимедийных объектов приложения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траница состоит из трёх рабочих зон. Слева располагается оглавление, в котором вы можете выбрать тему урока, по которой хотите выбрать мультимедийные объекты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 середине будут отображаться какие мультимедийные объекты доступны для данной темы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права находится фильтр, где вы можете выбрать какой именно тип объекта Вам нужен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жав на объект – он откроется в новом окне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0B16D42-8981-42CC-888C-58FBF12505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64351" y="1721844"/>
            <a:ext cx="2393488" cy="156125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5AE0C97-287C-4C63-9990-15F1907E5C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51057" y="3699453"/>
            <a:ext cx="3637968" cy="2856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2703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61393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ВИГАЦИЯ ПО ПРИЛОЖЕНИЮ – «ПРАКТИКУМ»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BDB10AC-A0FE-4E75-ACB6-AB055E0ADD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6" y="1217802"/>
            <a:ext cx="6432599" cy="45863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2E0DBAD-EDCA-4665-851B-6E833F6EA30A}"/>
              </a:ext>
            </a:extLst>
          </p:cNvPr>
          <p:cNvSpPr txBox="1"/>
          <p:nvPr/>
        </p:nvSpPr>
        <p:spPr>
          <a:xfrm>
            <a:off x="6828101" y="1210347"/>
            <a:ext cx="508137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кладка «Практикум» содержит перечень разделов учебника и перечень лабораторных работ к ним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того чтобы увидеть весь перечень лабораторных работ нажимаем кнопку «Выбрать всё»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того чтобы выбрать соответствующую лабораторную работу – кликаем на неё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D9DF72-7E81-4169-BC38-8AC76272C5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4455" y="1663386"/>
            <a:ext cx="3465557" cy="176561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E813FD0-4E43-4326-B565-384776D182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92948" y="4061783"/>
            <a:ext cx="3751678" cy="2583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4198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92328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ВИГАЦИЯ ПО ПРИЛОЖЕНИЮ – «ЗАДАЧНИК»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E0DBAD-EDCA-4665-851B-6E833F6EA30A}"/>
              </a:ext>
            </a:extLst>
          </p:cNvPr>
          <p:cNvSpPr txBox="1"/>
          <p:nvPr/>
        </p:nvSpPr>
        <p:spPr>
          <a:xfrm>
            <a:off x="6828101" y="1210347"/>
            <a:ext cx="508137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кладка «Задачник» содержит интерактивные задачи к основным темам учебника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 странице данной вкладки находится список задач, кнопки выбора режима и пиктограммы результатов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 режиме «Тренажёр» учащийся решает задачи, после чего происходит он-лайн проверка с указанием ошибок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 режиме «Контроль» учащийся решает задачи, после чего происходит проверка и выставляется результат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C56687C-9010-4825-8C3B-7E2650D133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6" y="1305486"/>
            <a:ext cx="6464790" cy="462425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7E14021-85A6-4B1E-B382-7DE0A4C619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3578" y="2719572"/>
            <a:ext cx="5323738" cy="3785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52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63946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ВИГАЦИЯ ПО ПРИЛОЖЕНИЮ – «ЭКЗАМЕНАТОР»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E0DBAD-EDCA-4665-851B-6E833F6EA30A}"/>
              </a:ext>
            </a:extLst>
          </p:cNvPr>
          <p:cNvSpPr txBox="1"/>
          <p:nvPr/>
        </p:nvSpPr>
        <p:spPr>
          <a:xfrm>
            <a:off x="6758703" y="817966"/>
            <a:ext cx="5081373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кладка «Экзаменатор» представляет собой возможность выполнять тестовые задания к урокам в двух режимах «Тренажёр» и «Контроль»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«Тренажёр» позволяет выполнять интерактивные задания выбранного урока несколько раз без сохранения результатов. Задания представлены двух типов «Выбор правильного ответа» и «Составление логической последовательности»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Режим «Контроль» позволяет выполнять контрольные тестовые задания выбранного урока. После чего результаты сохраняются и отображаются в поле рядом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780C1A3-1FFD-4BEB-A5EC-B12D653BBB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399" y="1238583"/>
            <a:ext cx="6481108" cy="462188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8E791EC-9CE9-40C2-B7E7-7CC13198ED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9979" y="5922682"/>
            <a:ext cx="7640097" cy="547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8074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64175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ИЕ ЛАБОРАТОРНЫЕ РАБОТЫ ПРЕДСТАВЛЕНЫ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34EB6-8ECD-46E6-8C40-DAF9EC88CA40}"/>
              </a:ext>
            </a:extLst>
          </p:cNvPr>
          <p:cNvSpPr txBox="1"/>
          <p:nvPr/>
        </p:nvSpPr>
        <p:spPr>
          <a:xfrm>
            <a:off x="282526" y="1217802"/>
            <a:ext cx="12734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7 КЛАСС: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A6AB144-CE60-4D2C-ACD6-C13FC02ECE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5" y="1617911"/>
            <a:ext cx="8131303" cy="4510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862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64175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ИЕ ЛАБОРАТОРНЫЕ РАБОТЫ ПРЕДСТАВЛЕНЫ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34EB6-8ECD-46E6-8C40-DAF9EC88CA40}"/>
              </a:ext>
            </a:extLst>
          </p:cNvPr>
          <p:cNvSpPr txBox="1"/>
          <p:nvPr/>
        </p:nvSpPr>
        <p:spPr>
          <a:xfrm>
            <a:off x="282526" y="1217802"/>
            <a:ext cx="12734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8 КЛАСС: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A446558-DDAF-4D9D-A649-616712F3D9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6" y="1617911"/>
            <a:ext cx="9434578" cy="4228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760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64175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ИЕ ЛАБОРАТОРНЫЕ РАБОТЫ ПРЕДСТАВЛЕНЫ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34EB6-8ECD-46E6-8C40-DAF9EC88CA40}"/>
              </a:ext>
            </a:extLst>
          </p:cNvPr>
          <p:cNvSpPr txBox="1"/>
          <p:nvPr/>
        </p:nvSpPr>
        <p:spPr>
          <a:xfrm>
            <a:off x="282526" y="1217802"/>
            <a:ext cx="12734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9 КЛАСС: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D7AA3E8-4C20-438D-B2F5-C2798B0CBF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5" y="1617912"/>
            <a:ext cx="7877801" cy="5051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5270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820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ВЫПОЛНЯЕТСЯ ЛАБОРАТОРНАЯ РАБОТА?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D4149DD-0F6D-4FFE-9093-EA0147861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8722" y="1217802"/>
            <a:ext cx="7853095" cy="5580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688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3716295" y="91241"/>
            <a:ext cx="410368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СЕГОДНЯ НА ВЕБИНАРЕ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E36CC18-8B93-453C-9EF2-96FC62735822}"/>
              </a:ext>
            </a:extLst>
          </p:cNvPr>
          <p:cNvSpPr txBox="1"/>
          <p:nvPr/>
        </p:nvSpPr>
        <p:spPr>
          <a:xfrm>
            <a:off x="393362" y="900545"/>
            <a:ext cx="1091738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1. </a:t>
            </a:r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организовать лабораторный эксперимент в условиях дистанционного обучения?</a:t>
            </a:r>
          </a:p>
          <a:p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2. Инструменты учителя</a:t>
            </a:r>
          </a:p>
          <a:p>
            <a:r>
              <a:rPr lang="ru-RU" sz="2800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Электронные приложения.</a:t>
            </a:r>
          </a:p>
          <a:p>
            <a:r>
              <a:rPr lang="ru-RU" sz="2800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установить? Как использовать? Какие есть «подводные камни»?</a:t>
            </a:r>
          </a:p>
          <a:p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3. Лабораторный практикум в </a:t>
            </a:r>
            <a:r>
              <a:rPr lang="en-US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Skype</a:t>
            </a:r>
          </a:p>
          <a:p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4. Лабораторный практикум в </a:t>
            </a:r>
            <a:r>
              <a:rPr lang="en-US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Zoom</a:t>
            </a:r>
          </a:p>
          <a:p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5. Есть ли ресурсы с онлайн проверкой?</a:t>
            </a:r>
          </a:p>
          <a:p>
            <a:r>
              <a:rPr lang="ru-RU" sz="28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6. Сборник бесплатных ресурсов для работы в он-лайн</a:t>
            </a:r>
          </a:p>
        </p:txBody>
      </p:sp>
    </p:spTree>
    <p:extLst>
      <p:ext uri="{BB962C8B-B14F-4D97-AF65-F5344CB8AC3E}">
        <p14:creationId xmlns:p14="http://schemas.microsoft.com/office/powerpoint/2010/main" val="9782379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820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ВЫПОЛНЯЕТСЯ ЛАБОРАТОРНАЯ РАБОТА?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4F4DD77-D147-46F2-A17A-AEBFBC33B5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5151" y="1217801"/>
            <a:ext cx="8041698" cy="5471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9424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820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ВЫПОЛНЯЕТСЯ ЛАБОРАТОРНАЯ РАБОТА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B1D1D54-C39C-4E50-A703-31A449AD8A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72757" y="1233287"/>
            <a:ext cx="8246485" cy="551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3294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820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ВЫПОЛНЯЕТСЯ ЛАБОРАТОРНАЯ РАБОТА?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E3FD15A-E6F0-4F38-B288-6F55F5C9AA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9245" y="1217802"/>
            <a:ext cx="8353510" cy="5521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9979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E08B5D4B-C028-498F-A7E7-DC15FC5916FB}"/>
              </a:ext>
            </a:extLst>
          </p:cNvPr>
          <p:cNvSpPr txBox="1"/>
          <p:nvPr/>
        </p:nvSpPr>
        <p:spPr>
          <a:xfrm>
            <a:off x="282526" y="817692"/>
            <a:ext cx="5820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ВЫПОЛНЯЕТСЯ ЛАБОРАТОРНАЯ РАБОТА?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024D8A3-DCD1-4FB9-A35B-CD15CD2AF8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1869" y="1217802"/>
            <a:ext cx="7928261" cy="543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8296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01E2BFC8-4846-44D6-89B8-04632E774576}"/>
              </a:ext>
            </a:extLst>
          </p:cNvPr>
          <p:cNvSpPr/>
          <p:nvPr/>
        </p:nvSpPr>
        <p:spPr>
          <a:xfrm>
            <a:off x="1052945" y="1080655"/>
            <a:ext cx="3671453" cy="678849"/>
          </a:xfrm>
          <a:prstGeom prst="round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РЕИМУЩЕСТВ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C302173-D576-415F-8014-7D042705481E}"/>
              </a:ext>
            </a:extLst>
          </p:cNvPr>
          <p:cNvCxnSpPr>
            <a:cxnSpLocks/>
          </p:cNvCxnSpPr>
          <p:nvPr/>
        </p:nvCxnSpPr>
        <p:spPr>
          <a:xfrm>
            <a:off x="6248392" y="1080655"/>
            <a:ext cx="0" cy="57773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0A61C12E-5E44-47F2-85AA-901C7132D2B9}"/>
              </a:ext>
            </a:extLst>
          </p:cNvPr>
          <p:cNvSpPr/>
          <p:nvPr/>
        </p:nvSpPr>
        <p:spPr>
          <a:xfrm>
            <a:off x="7467604" y="1080654"/>
            <a:ext cx="3671453" cy="678849"/>
          </a:xfrm>
          <a:prstGeom prst="round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ЕДОСТАТК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22CF8F-B939-4AFF-8F72-4396C0B3CF4E}"/>
              </a:ext>
            </a:extLst>
          </p:cNvPr>
          <p:cNvSpPr txBox="1"/>
          <p:nvPr/>
        </p:nvSpPr>
        <p:spPr>
          <a:xfrm>
            <a:off x="401781" y="2050473"/>
            <a:ext cx="550024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Бесплатный контент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Работает на всех операционных системах –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Windows, Linux, Mac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добен в использовании, содержит много материала для отработки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добно использовать при дистанционном обучении через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Skype </a:t>
            </a: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Zoom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озволяет провести подготовку к выполнению задания № 17 ОГЭ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7DEEBD-159B-49DB-9F59-7BBDFBFF1571}"/>
              </a:ext>
            </a:extLst>
          </p:cNvPr>
          <p:cNvSpPr txBox="1"/>
          <p:nvPr/>
        </p:nvSpPr>
        <p:spPr>
          <a:xfrm>
            <a:off x="6553205" y="2050473"/>
            <a:ext cx="55002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2A3393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работы в приложении оно должно быть установлено на ПК или ноутбуке КАЖДОГО пользователя</a:t>
            </a:r>
          </a:p>
          <a:p>
            <a:pPr marL="457200" indent="-457200">
              <a:buClr>
                <a:srgbClr val="2A3393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е работает на смартфонах</a:t>
            </a:r>
          </a:p>
          <a:p>
            <a:pPr marL="457200" indent="-457200">
              <a:buClr>
                <a:srgbClr val="2A3393"/>
              </a:buClr>
              <a:buFont typeface="Wingdings" panose="05000000000000000000" pitchFamily="2" charset="2"/>
              <a:buChar char="ü"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ельзя использовать «кусками» без использования приложения.</a:t>
            </a:r>
          </a:p>
        </p:txBody>
      </p:sp>
    </p:spTree>
    <p:extLst>
      <p:ext uri="{BB962C8B-B14F-4D97-AF65-F5344CB8AC3E}">
        <p14:creationId xmlns:p14="http://schemas.microsoft.com/office/powerpoint/2010/main" val="234947445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46010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Виртуальные лаборатории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7A4CAE8A-E9BE-4226-B8C5-47823FC125A0}"/>
              </a:ext>
            </a:extLst>
          </p:cNvPr>
          <p:cNvSpPr txBox="1"/>
          <p:nvPr/>
        </p:nvSpPr>
        <p:spPr>
          <a:xfrm>
            <a:off x="282526" y="1308623"/>
            <a:ext cx="1025236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нтернет ресурс «Виртуальные лабораторные работы»</a:t>
            </a:r>
          </a:p>
          <a:p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mediadidaktika.ru/</a:t>
            </a:r>
            <a:r>
              <a:rPr lang="ru-RU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одержит видео-материалы по выполнению лабораторных работ школьного курса.</a:t>
            </a:r>
          </a:p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2. Виртуальная образовательная лаборатория</a:t>
            </a:r>
          </a:p>
          <a:p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virtulab.net/</a:t>
            </a:r>
            <a:endParaRPr lang="ru-RU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одержит интерактивные лабораторные работы по физике и химии</a:t>
            </a:r>
          </a:p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3. Виртуальные лабораторные работы СПБГУ</a:t>
            </a:r>
          </a:p>
          <a:p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istolymp2.spbu.ru/www/lab_dhtml/index.html</a:t>
            </a:r>
            <a:endParaRPr lang="ru-RU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одержит интерактивные лабораторные работы по физике </a:t>
            </a:r>
          </a:p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4. Интернет-ресурс «</a:t>
            </a:r>
            <a:r>
              <a: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All 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физика»</a:t>
            </a:r>
          </a:p>
          <a:p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www.all-fizika.com/article/index.php?id_article=110</a:t>
            </a:r>
            <a:r>
              <a:rPr lang="ru-RU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одержит интерактивные лабораторные работы по физике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1598" y="964034"/>
            <a:ext cx="1260000" cy="1260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142" y="3800762"/>
            <a:ext cx="1251456" cy="125145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142" y="5211136"/>
            <a:ext cx="1260000" cy="1260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142" y="2381844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4836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3063320" y="169008"/>
            <a:ext cx="5588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ХОТИТЕ ЗНАТЬ БОЛЬШЕ?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F162870-03A7-4860-91FE-8CB339E5C08C}"/>
              </a:ext>
            </a:extLst>
          </p:cNvPr>
          <p:cNvGrpSpPr/>
          <p:nvPr/>
        </p:nvGrpSpPr>
        <p:grpSpPr>
          <a:xfrm>
            <a:off x="793179" y="2024076"/>
            <a:ext cx="2474107" cy="4557311"/>
            <a:chOff x="301750" y="914398"/>
            <a:chExt cx="2474107" cy="4557311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769BEB62-C75A-41F3-BB46-A3389167CA08}"/>
                </a:ext>
              </a:extLst>
            </p:cNvPr>
            <p:cNvGrpSpPr/>
            <p:nvPr/>
          </p:nvGrpSpPr>
          <p:grpSpPr>
            <a:xfrm>
              <a:off x="301750" y="914398"/>
              <a:ext cx="2474107" cy="2002973"/>
              <a:chOff x="377950" y="936169"/>
              <a:chExt cx="3083708" cy="2503717"/>
            </a:xfrm>
          </p:grpSpPr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759712FD-EF9E-4F15-9215-2A66590A2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950" y="936169"/>
                <a:ext cx="1473492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Рисунок 9">
                <a:extLst>
                  <a:ext uri="{FF2B5EF4-FFF2-40B4-BE49-F238E27FC236}">
                    <a16:creationId xmlns:a16="http://schemas.microsoft.com/office/drawing/2014/main" id="{789A53A1-487F-4912-A2E8-A36D52B04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4696" y="1208312"/>
                <a:ext cx="1514641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id="{F1732C8C-18F9-4DEB-9694-6C0A0C08F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1396" y="1484162"/>
                <a:ext cx="1490262" cy="1955724"/>
              </a:xfrm>
              <a:prstGeom prst="rect">
                <a:avLst/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5D20F1-54B3-4ABE-9F36-CCE9BBE8562B}"/>
                </a:ext>
              </a:extLst>
            </p:cNvPr>
            <p:cNvSpPr txBox="1"/>
            <p:nvPr/>
          </p:nvSpPr>
          <p:spPr>
            <a:xfrm>
              <a:off x="301750" y="3224940"/>
              <a:ext cx="2474107" cy="861774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УМК «Сферы»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Ю.А. </a:t>
              </a:r>
              <a:r>
                <a:rPr lang="ru-RU" sz="1600" dirty="0" err="1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Панебратцев</a:t>
              </a: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,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В.В. </a:t>
              </a:r>
              <a:r>
                <a:rPr lang="ru-RU" sz="1600" dirty="0" err="1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Белага</a:t>
              </a: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 и др.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D41E22-3C9B-4370-95C2-C09006EBC4A2}"/>
                </a:ext>
              </a:extLst>
            </p:cNvPr>
            <p:cNvSpPr txBox="1"/>
            <p:nvPr/>
          </p:nvSpPr>
          <p:spPr>
            <a:xfrm>
              <a:off x="301750" y="4148270"/>
              <a:ext cx="2474107" cy="1323439"/>
            </a:xfrm>
            <a:prstGeom prst="rect">
              <a:avLst/>
            </a:prstGeom>
            <a:noFill/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dirty="0">
                  <a:solidFill>
                    <a:srgbClr val="FF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омер ФПУ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1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2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3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E59E4C4-C5F0-4991-97E8-A8C1878D4315}"/>
              </a:ext>
            </a:extLst>
          </p:cNvPr>
          <p:cNvGrpSpPr/>
          <p:nvPr/>
        </p:nvGrpSpPr>
        <p:grpSpPr>
          <a:xfrm>
            <a:off x="4581926" y="2331646"/>
            <a:ext cx="2374065" cy="4249741"/>
            <a:chOff x="3091543" y="914398"/>
            <a:chExt cx="2374065" cy="4249741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87D5AE2B-3711-47DB-B465-8A1C6F983C1B}"/>
                </a:ext>
              </a:extLst>
            </p:cNvPr>
            <p:cNvGrpSpPr/>
            <p:nvPr/>
          </p:nvGrpSpPr>
          <p:grpSpPr>
            <a:xfrm>
              <a:off x="3091543" y="914398"/>
              <a:ext cx="2374064" cy="1997835"/>
              <a:chOff x="3091543" y="914398"/>
              <a:chExt cx="2374064" cy="1997835"/>
            </a:xfrm>
          </p:grpSpPr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1D25823A-AC14-4654-A283-4E0DD298F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91543" y="914398"/>
                <a:ext cx="1142489" cy="156754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C3F07155-E10F-47A6-8AB7-084B480FBB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7258" y="1126975"/>
                <a:ext cx="1162634" cy="15726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43FB044E-B671-4995-AF3F-03C64A7A3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9084" y="1352792"/>
                <a:ext cx="1156523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4DEAD3-00DC-4F18-BCFA-14F8F4CE4C81}"/>
                </a:ext>
              </a:extLst>
            </p:cNvPr>
            <p:cNvSpPr txBox="1"/>
            <p:nvPr/>
          </p:nvSpPr>
          <p:spPr>
            <a:xfrm>
              <a:off x="3091543" y="2912233"/>
              <a:ext cx="2374064" cy="830997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УМК «Классический»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С.В. Громов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.А. Родина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C303163-DD96-495D-AE0B-A0C90BFB050E}"/>
                </a:ext>
              </a:extLst>
            </p:cNvPr>
            <p:cNvSpPr txBox="1"/>
            <p:nvPr/>
          </p:nvSpPr>
          <p:spPr>
            <a:xfrm>
              <a:off x="3091544" y="3840700"/>
              <a:ext cx="2374064" cy="132343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dirty="0">
                  <a:solidFill>
                    <a:srgbClr val="FF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омер ФПУ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36ADEAE-E36B-4567-B8A3-DC20E16EB2A2}"/>
              </a:ext>
            </a:extLst>
          </p:cNvPr>
          <p:cNvGrpSpPr/>
          <p:nvPr/>
        </p:nvGrpSpPr>
        <p:grpSpPr>
          <a:xfrm>
            <a:off x="8762005" y="2311416"/>
            <a:ext cx="2381611" cy="4269971"/>
            <a:chOff x="5680529" y="1201737"/>
            <a:chExt cx="2381611" cy="4269971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4834E51-E955-4810-A0D4-88406E3330EE}"/>
                </a:ext>
              </a:extLst>
            </p:cNvPr>
            <p:cNvGrpSpPr/>
            <p:nvPr/>
          </p:nvGrpSpPr>
          <p:grpSpPr>
            <a:xfrm>
              <a:off x="5683122" y="1201737"/>
              <a:ext cx="2379018" cy="1997834"/>
              <a:chOff x="5683122" y="1201737"/>
              <a:chExt cx="2379018" cy="1997834"/>
            </a:xfrm>
          </p:grpSpPr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4E0063EE-FEDA-45EB-B8B1-1F9B949D0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83122" y="1201737"/>
                <a:ext cx="1161784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7EFACAA2-3A21-44D0-80C8-980195F6F3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20329" y="1414870"/>
                <a:ext cx="1149224" cy="157212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EB8E945F-1ACC-41BC-B188-BC3CEDD2BE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76965" y="1640130"/>
                <a:ext cx="1185175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6B0B8B-F1CE-4039-BE43-2F29DE901BFB}"/>
                </a:ext>
              </a:extLst>
            </p:cNvPr>
            <p:cNvSpPr txBox="1"/>
            <p:nvPr/>
          </p:nvSpPr>
          <p:spPr>
            <a:xfrm>
              <a:off x="5680530" y="3212255"/>
              <a:ext cx="2381609" cy="923330"/>
            </a:xfrm>
            <a:prstGeom prst="rect">
              <a:avLst/>
            </a:prstGeom>
            <a:solidFill>
              <a:srgbClr val="70AD47">
                <a:lumMod val="50000"/>
              </a:srgbClr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</a:rPr>
                <a:t>УМК «Архимед»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</a:t>
              </a:r>
              <a:r>
                <a: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О.Ф.Кабардин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463C54-140B-431E-AE0C-1ADE5E36A2B2}"/>
                </a:ext>
              </a:extLst>
            </p:cNvPr>
            <p:cNvSpPr txBox="1"/>
            <p:nvPr/>
          </p:nvSpPr>
          <p:spPr>
            <a:xfrm>
              <a:off x="5680529" y="4148269"/>
              <a:ext cx="2381610" cy="1323439"/>
            </a:xfrm>
            <a:prstGeom prst="rect">
              <a:avLst/>
            </a:prstGeom>
            <a:noFill/>
            <a:ln>
              <a:solidFill>
                <a:srgbClr val="70AD47">
                  <a:lumMod val="5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pic>
        <p:nvPicPr>
          <p:cNvPr id="26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724" y="867529"/>
            <a:ext cx="1008000" cy="100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958" y="867529"/>
            <a:ext cx="1008000" cy="1008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1805" y="867529"/>
            <a:ext cx="1008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3777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E875A4-6333-4372-8805-E906B71A70C6}"/>
              </a:ext>
            </a:extLst>
          </p:cNvPr>
          <p:cNvSpPr txBox="1"/>
          <p:nvPr/>
        </p:nvSpPr>
        <p:spPr>
          <a:xfrm>
            <a:off x="2253056" y="140689"/>
            <a:ext cx="70135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Вас также могут заинтересовать: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C34C64-C283-4616-81EB-DF7F085B9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238" y="1969519"/>
            <a:ext cx="2146106" cy="28719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 descr="Изображение выглядит как внешний,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65AAC113-DE4A-40EA-9171-078005A060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273" y="1832077"/>
            <a:ext cx="2292526" cy="302371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 descr="Изображение выглядит как здание, текст, знак, остановка&#10;&#10;Автоматически созданное описание">
            <a:extLst>
              <a:ext uri="{FF2B5EF4-FFF2-40B4-BE49-F238E27FC236}">
                <a16:creationId xmlns:a16="http://schemas.microsoft.com/office/drawing/2014/main" id="{B33B1F67-1362-4607-9AC5-178B8D7C24D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1113" y="1808780"/>
            <a:ext cx="2238100" cy="30326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Прямоугольник 17">
            <a:hlinkClick r:id="rId6"/>
            <a:extLst>
              <a:ext uri="{FF2B5EF4-FFF2-40B4-BE49-F238E27FC236}">
                <a16:creationId xmlns:a16="http://schemas.microsoft.com/office/drawing/2014/main" id="{F171C795-6FE3-40C2-9D18-E1B054FC5205}"/>
              </a:ext>
            </a:extLst>
          </p:cNvPr>
          <p:cNvSpPr/>
          <p:nvPr/>
        </p:nvSpPr>
        <p:spPr>
          <a:xfrm>
            <a:off x="395634" y="4843406"/>
            <a:ext cx="2810612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ОГЭ. Физика. Справочник с комментариями ведущих экспертов</a:t>
            </a:r>
          </a:p>
        </p:txBody>
      </p:sp>
      <p:sp>
        <p:nvSpPr>
          <p:cNvPr id="19" name="Прямоугольник 18">
            <a:hlinkClick r:id="rId7"/>
            <a:extLst>
              <a:ext uri="{FF2B5EF4-FFF2-40B4-BE49-F238E27FC236}">
                <a16:creationId xmlns:a16="http://schemas.microsoft.com/office/drawing/2014/main" id="{DD20474F-84D8-4695-A7E3-98686C9D874A}"/>
              </a:ext>
            </a:extLst>
          </p:cNvPr>
          <p:cNvSpPr/>
          <p:nvPr/>
        </p:nvSpPr>
        <p:spPr>
          <a:xfrm>
            <a:off x="3367928" y="4843406"/>
            <a:ext cx="2502393" cy="58477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ОГЭ-2019. Физика.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5 лучших вариантов</a:t>
            </a:r>
          </a:p>
        </p:txBody>
      </p:sp>
      <p:sp>
        <p:nvSpPr>
          <p:cNvPr id="20" name="Прямоугольник 19">
            <a:hlinkClick r:id="rId8"/>
            <a:extLst>
              <a:ext uri="{FF2B5EF4-FFF2-40B4-BE49-F238E27FC236}">
                <a16:creationId xmlns:a16="http://schemas.microsoft.com/office/drawing/2014/main" id="{F13C2997-BE5F-420D-BD5B-708EE3F11578}"/>
              </a:ext>
            </a:extLst>
          </p:cNvPr>
          <p:cNvSpPr/>
          <p:nvPr/>
        </p:nvSpPr>
        <p:spPr>
          <a:xfrm>
            <a:off x="6297599" y="4855792"/>
            <a:ext cx="2063385" cy="338554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Я сдам ОГЭ! Физика.</a:t>
            </a:r>
          </a:p>
        </p:txBody>
      </p:sp>
      <p:pic>
        <p:nvPicPr>
          <p:cNvPr id="13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814" y="2751232"/>
            <a:ext cx="1657191" cy="165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7939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Овал 26"/>
          <p:cNvSpPr/>
          <p:nvPr/>
        </p:nvSpPr>
        <p:spPr>
          <a:xfrm>
            <a:off x="7464152" y="478319"/>
            <a:ext cx="3456384" cy="133842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>
              <a:solidFill>
                <a:schemeClr val="bg1"/>
              </a:solidFill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75" y="2276872"/>
            <a:ext cx="12189772" cy="3411316"/>
          </a:xfrm>
          <a:prstGeom prst="rect">
            <a:avLst/>
          </a:prstGeom>
        </p:spPr>
      </p:pic>
      <p:grpSp>
        <p:nvGrpSpPr>
          <p:cNvPr id="29" name="Группа 28"/>
          <p:cNvGrpSpPr/>
          <p:nvPr/>
        </p:nvGrpSpPr>
        <p:grpSpPr>
          <a:xfrm>
            <a:off x="8112224" y="978262"/>
            <a:ext cx="5378740" cy="389234"/>
            <a:chOff x="289608" y="6005228"/>
            <a:chExt cx="4302992" cy="293565"/>
          </a:xfrm>
        </p:grpSpPr>
        <p:sp>
          <p:nvSpPr>
            <p:cNvPr id="30" name="TextBox 29"/>
            <p:cNvSpPr txBox="1"/>
            <p:nvPr/>
          </p:nvSpPr>
          <p:spPr>
            <a:xfrm>
              <a:off x="574096" y="6005228"/>
              <a:ext cx="4018504" cy="255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latin typeface="Cambria Math" panose="02040503050406030204" pitchFamily="18" charset="0"/>
                  <a:ea typeface="Cambria Math" panose="02040503050406030204" pitchFamily="18" charset="0"/>
                  <a:hlinkClick r:id="rId4"/>
                </a:rPr>
                <a:t>https://shop.prosv.ru/</a:t>
              </a:r>
              <a:endParaRPr lang="ru-RU" sz="1600" i="1" dirty="0">
                <a:latin typeface="Cambria Math" panose="02040503050406030204" pitchFamily="18" charset="0"/>
                <a:ea typeface="Cambria Math" panose="02040503050406030204" pitchFamily="18" charset="0"/>
              </a:endParaRPr>
            </a:p>
          </p:txBody>
        </p:sp>
        <p:pic>
          <p:nvPicPr>
            <p:cNvPr id="31" name="Picture 8" descr="https://www.pinclipart.com/picdir/big/288-2884575_sample-courses-clipart.png"/>
            <p:cNvPicPr>
              <a:picLocks noChangeAspect="1" noChangeArrowheads="1"/>
            </p:cNvPicPr>
            <p:nvPr/>
          </p:nvPicPr>
          <p:blipFill>
            <a:blip r:embed="rId5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89608" y="6025709"/>
              <a:ext cx="281818" cy="273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Заголовок 5"/>
          <p:cNvSpPr txBox="1">
            <a:spLocks/>
          </p:cNvSpPr>
          <p:nvPr/>
        </p:nvSpPr>
        <p:spPr>
          <a:xfrm>
            <a:off x="619509" y="692696"/>
            <a:ext cx="6048672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solidFill>
                  <a:srgbClr val="FF000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Акция</a:t>
            </a:r>
            <a:r>
              <a:rPr lang="ru-RU" sz="2800" dirty="0">
                <a:solidFill>
                  <a:srgbClr val="014694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*</a:t>
            </a:r>
            <a:r>
              <a:rPr lang="ru-RU" sz="2800" dirty="0">
                <a:solidFill>
                  <a:srgbClr val="FF000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 </a:t>
            </a:r>
            <a:r>
              <a:rPr lang="ru-RU" sz="2800" dirty="0">
                <a:solidFill>
                  <a:srgbClr val="014694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в нашем интернет магазине </a:t>
            </a:r>
          </a:p>
          <a:p>
            <a:pPr algn="r"/>
            <a:r>
              <a:rPr lang="ru-RU" sz="1800" dirty="0">
                <a:solidFill>
                  <a:srgbClr val="014694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*Срок акции до 30 апреля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335" y="2492896"/>
            <a:ext cx="1516013" cy="151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0023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05" y="1820163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b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spc="-40" dirty="0">
              <a:solidFill>
                <a:srgbClr val="2A3393"/>
              </a:soli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76403" y="2685875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, д. 16, стр. 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+7 (495) 789-30-41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Сайт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ru</a:t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9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1"/>
            <a:ext cx="10987315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90753" y="5965187"/>
            <a:ext cx="7397771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Все права защищены. Настоящая информация является конфиденциальной, может содержать результаты интеллектуальной деятельности и/или средства индивидуализации, принадлежащие АО «Издательство «Просвещение» (ОГРН 1147746296532), персональные данные физических лиц, а также информацию, являющуюся коммерческой тайной АО «Издательство «Просвещение». Информация адресована в печатной или электронной форме исключительно лицам, которым она предназначена. Если Вы не являетесь адресатом или получили информацию по ошибке, просьба незамедлительно сообщить об этом отправителю и удалить все копии этих материалов, которые могут находиться на Вашем сервере или уничтожить физически. Никакая часть информации не может быть скопирована, раскрыта или распространена в какой бы то ни было форме и какими бы то ни было средствами, включая размещение в сети Интернет и в корпоративных сетях, а также записана в память ЭВМ, для частного или публичного использования, без письменного разрешения владельца авторских прав.</a:t>
            </a:r>
          </a:p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0»</a:t>
            </a:r>
          </a:p>
        </p:txBody>
      </p:sp>
      <p:pic>
        <p:nvPicPr>
          <p:cNvPr id="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8002008" y="4787942"/>
            <a:ext cx="3885569" cy="117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Телефон: 8(495)789-30-40 доб.41-03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What’s up, Telegram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8 (963)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976-10-01  </a:t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E-mail:  OLitvinov@prosv.ru   </a:t>
            </a:r>
          </a:p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097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96982" y="29685"/>
            <a:ext cx="95327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Как организовать лабораторный эксперимент в условиях дистанционного обучения?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43156" y="983792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B389DF6-2B9D-4F62-B818-FCCF6AAE438F}"/>
              </a:ext>
            </a:extLst>
          </p:cNvPr>
          <p:cNvSpPr/>
          <p:nvPr/>
        </p:nvSpPr>
        <p:spPr>
          <a:xfrm>
            <a:off x="193964" y="1083347"/>
            <a:ext cx="1148541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еотъемлемой составной частью учебного процесса при изучении естественнонаучных и технических дисциплин является лабораторный практикум, задачей которого является формирование практических навыков работы с оборудованием, получения и обработки экспериментальных данных, умений планировать эксперимент, анализировать и сопоставлять полученные результаты с литературными данными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CF789BC-7354-4836-B6DD-5D403B325A8D}"/>
              </a:ext>
            </a:extLst>
          </p:cNvPr>
          <p:cNvSpPr/>
          <p:nvPr/>
        </p:nvSpPr>
        <p:spPr>
          <a:xfrm>
            <a:off x="193964" y="2560675"/>
            <a:ext cx="116461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овершенствование мультимедийных средств обучения привело к модернизации образовательного процесса в целом: уроки проводятся в режиме презентаций, для ведения уроков используются интерактивные способы представления учебного материала, проверочные и контрольные работы можно проводить в режиме онлайн с мгновенной проверкой.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56D1874-E84B-4646-B9F9-41A2FE8F6F5B}"/>
              </a:ext>
            </a:extLst>
          </p:cNvPr>
          <p:cNvSpPr/>
          <p:nvPr/>
        </p:nvSpPr>
        <p:spPr>
          <a:xfrm>
            <a:off x="193963" y="3761004"/>
            <a:ext cx="114854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иболее консервативной частью учебного процесса остается лабораторный практикум, целесообразность полного перевода которого в виртуальный режим пока не совсем ясна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4282D5-C70C-4821-854B-E297BDF7C282}"/>
              </a:ext>
            </a:extLst>
          </p:cNvPr>
          <p:cNvSpPr txBox="1"/>
          <p:nvPr/>
        </p:nvSpPr>
        <p:spPr>
          <a:xfrm>
            <a:off x="284697" y="4937776"/>
            <a:ext cx="11622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УЩЕСТВУЮТ ЛИ РЕСУРСЫ ДЛЯ ВЫПОЛНЕНИЯ ЛАБОРАТОРНЫХ РАБОТ В РЕЖИМЕ ОНЛАЙН?</a:t>
            </a:r>
          </a:p>
        </p:txBody>
      </p:sp>
    </p:spTree>
    <p:extLst>
      <p:ext uri="{BB962C8B-B14F-4D97-AF65-F5344CB8AC3E}">
        <p14:creationId xmlns:p14="http://schemas.microsoft.com/office/powerpoint/2010/main" val="3084008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94E02EE-FF8B-4EA3-A3AE-CD2601DC3639}"/>
              </a:ext>
            </a:extLst>
          </p:cNvPr>
          <p:cNvSpPr txBox="1"/>
          <p:nvPr/>
        </p:nvSpPr>
        <p:spPr>
          <a:xfrm>
            <a:off x="96982" y="29685"/>
            <a:ext cx="95327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Как организовать лабораторный эксперимент в условиях дистанционного обучения?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43156" y="983792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014282D5-C70C-4821-854B-E297BDF7C282}"/>
              </a:ext>
            </a:extLst>
          </p:cNvPr>
          <p:cNvSpPr txBox="1"/>
          <p:nvPr/>
        </p:nvSpPr>
        <p:spPr>
          <a:xfrm>
            <a:off x="284697" y="1140597"/>
            <a:ext cx="11622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УЩЕСТВУЮТ ЛИ РЕСУРСЫ ДЛЯ ВЫПОЛНЕНИЯ ЛАБОРАТОРНЫХ РАБОТ В РЕЖИМЕ ОНЛАЙН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24EF681-4F22-41C0-9DFC-63B743CC1F10}"/>
              </a:ext>
            </a:extLst>
          </p:cNvPr>
          <p:cNvSpPr txBox="1"/>
          <p:nvPr/>
        </p:nvSpPr>
        <p:spPr>
          <a:xfrm>
            <a:off x="284697" y="1537789"/>
            <a:ext cx="981108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AutoNum type="arabicPeriod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Электронные приложения к учебникам</a:t>
            </a:r>
          </a:p>
          <a:p>
            <a:pPr marL="457200" indent="-457200">
              <a:buAutoNum type="arabicPeriod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иртуальные лаборатории</a:t>
            </a:r>
          </a:p>
          <a:p>
            <a:pPr marL="457200" indent="-457200">
              <a:buAutoNum type="arabicPeriod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ополнительное ПО </a:t>
            </a:r>
            <a:r>
              <a:rPr lang="ru-RU" sz="2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(«Живая физика», «Открытый класс» и т.д.)</a:t>
            </a:r>
          </a:p>
          <a:p>
            <a:pPr marL="457200" indent="-457200">
              <a:buAutoNum type="arabicPeriod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нтернет-ресурс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066954-9FC8-400E-8F16-CDEB570BD969}"/>
              </a:ext>
            </a:extLst>
          </p:cNvPr>
          <p:cNvSpPr txBox="1"/>
          <p:nvPr/>
        </p:nvSpPr>
        <p:spPr>
          <a:xfrm>
            <a:off x="1301192" y="3111652"/>
            <a:ext cx="95896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ЧТО НУЖНО УЧИТЕЛЮ ДЛЯ ОРГАНИЗАЦИИ ЛАБОРАТОРНОГО ПРАКТИКУМА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9725919-F3AC-49A7-B4B6-DB0DCD962BD6}"/>
              </a:ext>
            </a:extLst>
          </p:cNvPr>
          <p:cNvSpPr txBox="1"/>
          <p:nvPr/>
        </p:nvSpPr>
        <p:spPr>
          <a:xfrm>
            <a:off x="284697" y="3513047"/>
            <a:ext cx="1125960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становить программу на ПК или ноутбук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дополнительного ПО разработать лабораторную работу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электронного приложения и конструкторов уроков – выбрать работу и вставить в урок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 любом случае использовать программы для онлайн трансляции</a:t>
            </a:r>
          </a:p>
        </p:txBody>
      </p:sp>
    </p:spTree>
    <p:extLst>
      <p:ext uri="{BB962C8B-B14F-4D97-AF65-F5344CB8AC3E}">
        <p14:creationId xmlns:p14="http://schemas.microsoft.com/office/powerpoint/2010/main" val="2414645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4525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4999142-1924-4D7D-A687-1CDF2683D4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31" y="1460630"/>
            <a:ext cx="2611308" cy="26113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81CF4BF2-A0A7-4E3C-97A7-C5E367B751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706" y="1460630"/>
            <a:ext cx="2611308" cy="26113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E639CFA-CE12-418F-A21F-8496FA1F2F8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982" y="1460630"/>
            <a:ext cx="2611308" cy="26244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DE0AB86-F573-4FC5-BD4A-25EE9B8A820A}"/>
              </a:ext>
            </a:extLst>
          </p:cNvPr>
          <p:cNvSpPr txBox="1"/>
          <p:nvPr/>
        </p:nvSpPr>
        <p:spPr>
          <a:xfrm>
            <a:off x="3362783" y="852371"/>
            <a:ext cx="54664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Электронные приложения к УМК «Сферы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160180" y="4280087"/>
            <a:ext cx="120318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РИЛОЖЕНИЯ ЯВЛЯЮТСЯ БЕСПЛАТНЫМИ, ДЛЯ ТОГО ЧТОБЫ СКАЧАТЬ ПЕРЕЙДИТЕ ПО ССЫЛК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6DDBB1B-BC6A-442B-A685-DD58BB17272F}"/>
              </a:ext>
            </a:extLst>
          </p:cNvPr>
          <p:cNvSpPr txBox="1"/>
          <p:nvPr/>
        </p:nvSpPr>
        <p:spPr>
          <a:xfrm>
            <a:off x="2534948" y="4680197"/>
            <a:ext cx="693882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7 КЛАСС: 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7"/>
              </a:rPr>
              <a:t>http://spheres.prosv.ru/physics/about/199/2205/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8 КЛАСС: 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8"/>
              </a:rPr>
              <a:t>http://spheres.prosv.ru/physics/about/200/2236/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9 КЛАСС: 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9"/>
              </a:rPr>
              <a:t>http://spheres.prosv.ru/physics/about/201/2280/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96F6498-E86E-4E59-86C2-8DF07C62ACDE}"/>
              </a:ext>
            </a:extLst>
          </p:cNvPr>
          <p:cNvSpPr txBox="1"/>
          <p:nvPr/>
        </p:nvSpPr>
        <p:spPr>
          <a:xfrm>
            <a:off x="1431971" y="5805574"/>
            <a:ext cx="94882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НИМАНИЕ! КАЖДЫЙ КЛАСС НУЖНО СКАЧАТЬ И УСТАНОВИТЬ ОТДЕДЬНО!!!</a:t>
            </a:r>
          </a:p>
        </p:txBody>
      </p:sp>
    </p:spTree>
    <p:extLst>
      <p:ext uri="{BB962C8B-B14F-4D97-AF65-F5344CB8AC3E}">
        <p14:creationId xmlns:p14="http://schemas.microsoft.com/office/powerpoint/2010/main" val="27922753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80090" y="817692"/>
            <a:ext cx="55986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ЧТОБЫ СКАЧАТЬ – ПЕРЕХОДИМ ПО ССЫЛКЕ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9CEBB74-B5ED-4DE6-AA4D-43C522A5F3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2130" y="1305486"/>
            <a:ext cx="2314575" cy="38385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22A455-CF3E-4BC1-86C9-97075E14A345}"/>
              </a:ext>
            </a:extLst>
          </p:cNvPr>
          <p:cNvSpPr txBox="1"/>
          <p:nvPr/>
        </p:nvSpPr>
        <p:spPr>
          <a:xfrm>
            <a:off x="3990109" y="1413164"/>
            <a:ext cx="5753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жимаем на кнопку «Скачать полную версию»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241D78A9-2815-4DF0-BFCB-AA3D155583B4}"/>
              </a:ext>
            </a:extLst>
          </p:cNvPr>
          <p:cNvCxnSpPr>
            <a:stCxn id="6" idx="1"/>
          </p:cNvCxnSpPr>
          <p:nvPr/>
        </p:nvCxnSpPr>
        <p:spPr>
          <a:xfrm flipH="1">
            <a:off x="2327564" y="1613219"/>
            <a:ext cx="1662545" cy="3028054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97D147F-57F9-4C58-8A0D-974DE1A9D1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6865" y="3239999"/>
            <a:ext cx="6105525" cy="1104900"/>
          </a:xfrm>
          <a:prstGeom prst="rect">
            <a:avLst/>
          </a:prstGeom>
        </p:spPr>
      </p:pic>
      <p:sp>
        <p:nvSpPr>
          <p:cNvPr id="14" name="Стрелка: вниз 13">
            <a:extLst>
              <a:ext uri="{FF2B5EF4-FFF2-40B4-BE49-F238E27FC236}">
                <a16:creationId xmlns:a16="http://schemas.microsoft.com/office/drawing/2014/main" id="{69FF90F1-48A6-4C9C-B620-6EB0ECF2EDD7}"/>
              </a:ext>
            </a:extLst>
          </p:cNvPr>
          <p:cNvSpPr/>
          <p:nvPr/>
        </p:nvSpPr>
        <p:spPr>
          <a:xfrm>
            <a:off x="6104024" y="2026257"/>
            <a:ext cx="1525604" cy="637309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3F3176-EB18-44FC-BE9B-88274211FA0D}"/>
              </a:ext>
            </a:extLst>
          </p:cNvPr>
          <p:cNvSpPr txBox="1"/>
          <p:nvPr/>
        </p:nvSpPr>
        <p:spPr>
          <a:xfrm>
            <a:off x="4111001" y="2752205"/>
            <a:ext cx="73521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 появившемся окне загрузки нажимаем кнопку «Сохранить»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D7FD233-15DB-49D6-920F-07F34E5C52C5}"/>
              </a:ext>
            </a:extLst>
          </p:cNvPr>
          <p:cNvSpPr txBox="1"/>
          <p:nvPr/>
        </p:nvSpPr>
        <p:spPr>
          <a:xfrm>
            <a:off x="3595510" y="4422753"/>
            <a:ext cx="83774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нимание! </a:t>
            </a:r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екоторые браузеры начинают загрузку автоматически.</a:t>
            </a:r>
          </a:p>
          <a:p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пример: </a:t>
            </a:r>
            <a:r>
              <a:rPr lang="en-US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Opera, Yandex, Chrome</a:t>
            </a:r>
            <a:endParaRPr lang="ru-RU" sz="20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Если такое окно не появилось – ничего страшного! Это значит, что браузер начал автоматическую загрузку.</a:t>
            </a:r>
            <a:endParaRPr lang="ru-RU" sz="20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648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282526" y="817692"/>
            <a:ext cx="35193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СТАНОВКА ПРИЛОЖЕН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3C2709-6CAA-4F16-87F2-B6C130B7D4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6" y="1305486"/>
            <a:ext cx="1446262" cy="15993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3B95AC7-698D-48C9-8935-33A53A4878A9}"/>
              </a:ext>
            </a:extLst>
          </p:cNvPr>
          <p:cNvSpPr txBox="1"/>
          <p:nvPr/>
        </p:nvSpPr>
        <p:spPr>
          <a:xfrm>
            <a:off x="2042206" y="1217802"/>
            <a:ext cx="7756482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становочный файл – это образ диска, имеющий формат «.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iso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»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На большинстве ПК распаковывать этот формат не нужно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того чтобы открыть кликаем левой кнопкой мыши два раза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ткрывается папка с содержимым диска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BBE9936-39E7-492D-9FD4-28E84519EB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38462" y="2661994"/>
            <a:ext cx="6315075" cy="2133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5AE1448-75F7-4810-AFCF-498DA81D516F}"/>
              </a:ext>
            </a:extLst>
          </p:cNvPr>
          <p:cNvSpPr txBox="1"/>
          <p:nvPr/>
        </p:nvSpPr>
        <p:spPr>
          <a:xfrm>
            <a:off x="466261" y="4316760"/>
            <a:ext cx="677114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установки кликаем два раза на файл «</a:t>
            </a:r>
            <a:r>
              <a:rPr lang="en-US" sz="20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setup_physics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»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алее следуем советам установщика.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1FAC7D-0985-4DD9-82EF-4E7CC5F673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37410" y="3180988"/>
            <a:ext cx="4471914" cy="322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672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282526" y="817692"/>
            <a:ext cx="35193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УСТАНОВКА ПРИЛОЖЕНИЯ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5AE1448-75F7-4810-AFCF-498DA81D516F}"/>
              </a:ext>
            </a:extLst>
          </p:cNvPr>
          <p:cNvSpPr txBox="1"/>
          <p:nvPr/>
        </p:nvSpPr>
        <p:spPr>
          <a:xfrm>
            <a:off x="5581671" y="1305485"/>
            <a:ext cx="59591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ля установки следуем советам установщика.</a:t>
            </a:r>
          </a:p>
          <a:p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ак только приложение установится – нажимаем кнопку «Завершить». 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A1FAC7D-0985-4DD9-82EF-4E7CC5F673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525" y="1305485"/>
            <a:ext cx="5022541" cy="3626825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E077FBB-6C22-437D-A02F-90AD748899B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50069" y="2321148"/>
            <a:ext cx="5490767" cy="4211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2903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282526" y="119103"/>
            <a:ext cx="71386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Электронные приложения к УМК «Сферы»</a:t>
            </a:r>
          </a:p>
        </p:txBody>
      </p:sp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38F5E7A-7449-403F-90A6-84B4B81BD7FC}"/>
              </a:ext>
            </a:extLst>
          </p:cNvPr>
          <p:cNvSpPr txBox="1"/>
          <p:nvPr/>
        </p:nvSpPr>
        <p:spPr>
          <a:xfrm>
            <a:off x="282526" y="817692"/>
            <a:ext cx="2903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ХОД В ПРИЛОЖЕНИ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E3C105-0545-4B23-9F02-C2958AAA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416" y="1305486"/>
            <a:ext cx="7266731" cy="48909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C8AAE84-0E70-44DB-9A00-548B2C1F3D17}"/>
              </a:ext>
            </a:extLst>
          </p:cNvPr>
          <p:cNvSpPr txBox="1"/>
          <p:nvPr/>
        </p:nvSpPr>
        <p:spPr>
          <a:xfrm>
            <a:off x="7530114" y="863859"/>
            <a:ext cx="430996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Шаг 1: «Регистрация»</a:t>
            </a:r>
          </a:p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ликаем на вкладку «Регистрация»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67C09F9D-2388-47D1-AFCB-C879CBFE7B1F}"/>
              </a:ext>
            </a:extLst>
          </p:cNvPr>
          <p:cNvCxnSpPr>
            <a:stCxn id="6" idx="1"/>
          </p:cNvCxnSpPr>
          <p:nvPr/>
        </p:nvCxnSpPr>
        <p:spPr>
          <a:xfrm flipH="1">
            <a:off x="5985164" y="1217802"/>
            <a:ext cx="1544950" cy="112361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A547C03-92B2-4B78-AC24-249CF348EF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8633" y="1705596"/>
            <a:ext cx="3905250" cy="282892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9B880FF-C4C8-4C4C-883B-BC1AAB58C125}"/>
              </a:ext>
            </a:extLst>
          </p:cNvPr>
          <p:cNvSpPr txBox="1"/>
          <p:nvPr/>
        </p:nvSpPr>
        <p:spPr>
          <a:xfrm>
            <a:off x="7630653" y="4668372"/>
            <a:ext cx="44069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Шаг 2: «Завершение регистрации»</a:t>
            </a:r>
          </a:p>
          <a:p>
            <a:r>
              <a:rPr lang="ru-RU" sz="20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водим свои данные, придумываем пароль и нажимаем кнопку «Создать»</a:t>
            </a:r>
          </a:p>
        </p:txBody>
      </p:sp>
    </p:spTree>
    <p:extLst>
      <p:ext uri="{BB962C8B-B14F-4D97-AF65-F5344CB8AC3E}">
        <p14:creationId xmlns:p14="http://schemas.microsoft.com/office/powerpoint/2010/main" val="3821595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76</TotalTime>
  <Words>1687</Words>
  <Application>Microsoft Office PowerPoint</Application>
  <PresentationFormat>Широкоэкранный</PresentationFormat>
  <Paragraphs>206</Paragraphs>
  <Slides>29</Slides>
  <Notes>2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9" baseType="lpstr">
      <vt:lpstr>Arial</vt:lpstr>
      <vt:lpstr>Calibri</vt:lpstr>
      <vt:lpstr>Calibri Light</vt:lpstr>
      <vt:lpstr>Cambria</vt:lpstr>
      <vt:lpstr>Cambria Math</vt:lpstr>
      <vt:lpstr>Open Sans Light</vt:lpstr>
      <vt:lpstr>Times New Roman</vt:lpstr>
      <vt:lpstr>Wingdings</vt:lpstr>
      <vt:lpstr>Тема Office</vt:lpstr>
      <vt:lpstr>Слайд think-cell</vt:lpstr>
      <vt:lpstr>«Лабораторный практикум в дистанционном формате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have.no.sugar@gmail.com</cp:lastModifiedBy>
  <cp:revision>389</cp:revision>
  <dcterms:created xsi:type="dcterms:W3CDTF">2019-08-12T18:04:10Z</dcterms:created>
  <dcterms:modified xsi:type="dcterms:W3CDTF">2020-04-16T16:11:53Z</dcterms:modified>
</cp:coreProperties>
</file>